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6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08CC95-9145-EDD9-5960-781F9B6CF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Slide – Business Workflow</a:t>
            </a:r>
            <a:endParaRPr lang="en-IN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2CF918E-0692-6407-426B-413BAF0C8540}"/>
              </a:ext>
            </a:extLst>
          </p:cNvPr>
          <p:cNvGrpSpPr/>
          <p:nvPr/>
        </p:nvGrpSpPr>
        <p:grpSpPr>
          <a:xfrm>
            <a:off x="1567859" y="2489476"/>
            <a:ext cx="15152282" cy="6125937"/>
            <a:chOff x="811346" y="1702700"/>
            <a:chExt cx="10548613" cy="4264713"/>
          </a:xfrm>
        </p:grpSpPr>
        <p:cxnSp>
          <p:nvCxnSpPr>
            <p:cNvPr id="5" name="Google Shape;714;p25">
              <a:extLst>
                <a:ext uri="{FF2B5EF4-FFF2-40B4-BE49-F238E27FC236}">
                  <a16:creationId xmlns:a16="http://schemas.microsoft.com/office/drawing/2014/main" id="{CF2F6FC0-9310-8545-FFC1-5E815B795315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772886" y="4673991"/>
              <a:ext cx="1034165" cy="0"/>
            </a:xfrm>
            <a:prstGeom prst="straightConnector1">
              <a:avLst/>
            </a:prstGeom>
            <a:noFill/>
            <a:ln w="28575" cap="flat" cmpd="sng">
              <a:solidFill>
                <a:schemeClr val="accent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" name="Google Shape;724;p25">
              <a:extLst>
                <a:ext uri="{FF2B5EF4-FFF2-40B4-BE49-F238E27FC236}">
                  <a16:creationId xmlns:a16="http://schemas.microsoft.com/office/drawing/2014/main" id="{EF0B5977-95BC-11E6-8AD0-613823D0B2F4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730333" y="2668917"/>
              <a:ext cx="1076718" cy="0"/>
            </a:xfrm>
            <a:prstGeom prst="straightConnector1">
              <a:avLst/>
            </a:prstGeom>
            <a:noFill/>
            <a:ln w="28575" cap="flat" cmpd="sng">
              <a:solidFill>
                <a:schemeClr val="accent1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14" name="Google Shape;735;p25">
              <a:extLst>
                <a:ext uri="{FF2B5EF4-FFF2-40B4-BE49-F238E27FC236}">
                  <a16:creationId xmlns:a16="http://schemas.microsoft.com/office/drawing/2014/main" id="{EDC1892E-42CE-DA28-B4F7-1A1CA8D9957E}"/>
                </a:ext>
              </a:extLst>
            </p:cNvPr>
            <p:cNvCxnSpPr>
              <a:cxnSpLocks/>
            </p:cNvCxnSpPr>
            <p:nvPr/>
          </p:nvCxnSpPr>
          <p:spPr>
            <a:xfrm>
              <a:off x="3341059" y="2668917"/>
              <a:ext cx="1044911" cy="0"/>
            </a:xfrm>
            <a:prstGeom prst="straightConnector1">
              <a:avLst/>
            </a:prstGeom>
            <a:noFill/>
            <a:ln w="28575" cap="flat" cmpd="sng">
              <a:solidFill>
                <a:schemeClr val="accent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19" name="Google Shape;746;p25">
              <a:extLst>
                <a:ext uri="{FF2B5EF4-FFF2-40B4-BE49-F238E27FC236}">
                  <a16:creationId xmlns:a16="http://schemas.microsoft.com/office/drawing/2014/main" id="{BD4CE268-E5D4-4350-6254-0CEE544DAD95}"/>
                </a:ext>
              </a:extLst>
            </p:cNvPr>
            <p:cNvCxnSpPr>
              <a:cxnSpLocks/>
            </p:cNvCxnSpPr>
            <p:nvPr/>
          </p:nvCxnSpPr>
          <p:spPr>
            <a:xfrm>
              <a:off x="3359317" y="4673990"/>
              <a:ext cx="1055227" cy="0"/>
            </a:xfrm>
            <a:prstGeom prst="straightConnector1">
              <a:avLst/>
            </a:prstGeom>
            <a:noFill/>
            <a:ln w="28575" cap="flat" cmpd="sng">
              <a:solidFill>
                <a:schemeClr val="accent1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4" name="Google Shape;709;p25">
              <a:extLst>
                <a:ext uri="{FF2B5EF4-FFF2-40B4-BE49-F238E27FC236}">
                  <a16:creationId xmlns:a16="http://schemas.microsoft.com/office/drawing/2014/main" id="{32CDF886-7A47-8C24-A878-264065B7D3D4}"/>
                </a:ext>
              </a:extLst>
            </p:cNvPr>
            <p:cNvSpPr/>
            <p:nvPr/>
          </p:nvSpPr>
          <p:spPr>
            <a:xfrm>
              <a:off x="5771390" y="3950197"/>
              <a:ext cx="2440704" cy="2017216"/>
            </a:xfrm>
            <a:custGeom>
              <a:avLst/>
              <a:gdLst/>
              <a:ahLst/>
              <a:cxnLst/>
              <a:rect l="l" t="t" r="r" b="b"/>
              <a:pathLst>
                <a:path w="68140" h="56317" extrusionOk="0">
                  <a:moveTo>
                    <a:pt x="34517" y="0"/>
                  </a:moveTo>
                  <a:cubicBezTo>
                    <a:pt x="32957" y="12704"/>
                    <a:pt x="22241" y="22574"/>
                    <a:pt x="9156" y="22801"/>
                  </a:cubicBezTo>
                  <a:lnTo>
                    <a:pt x="0" y="39672"/>
                  </a:lnTo>
                  <a:lnTo>
                    <a:pt x="9132" y="56317"/>
                  </a:lnTo>
                  <a:cubicBezTo>
                    <a:pt x="40684" y="56090"/>
                    <a:pt x="66390" y="31337"/>
                    <a:pt x="68140" y="179"/>
                  </a:cubicBezTo>
                  <a:lnTo>
                    <a:pt x="68140" y="179"/>
                  </a:lnTo>
                  <a:lnTo>
                    <a:pt x="51602" y="9251"/>
                  </a:lnTo>
                  <a:lnTo>
                    <a:pt x="345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37138" tIns="137138" rIns="137138" bIns="137138" anchor="ctr" anchorCtr="0">
              <a:noAutofit/>
            </a:bodyPr>
            <a:lstStyle/>
            <a:p>
              <a:pPr>
                <a:spcAft>
                  <a:spcPts val="900"/>
                </a:spcAft>
              </a:pPr>
              <a:endParaRPr sz="27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Google Shape;719;p25">
              <a:extLst>
                <a:ext uri="{FF2B5EF4-FFF2-40B4-BE49-F238E27FC236}">
                  <a16:creationId xmlns:a16="http://schemas.microsoft.com/office/drawing/2014/main" id="{56FB3494-0C53-EEB1-6941-8780B8EA37E1}"/>
                </a:ext>
              </a:extLst>
            </p:cNvPr>
            <p:cNvSpPr/>
            <p:nvPr/>
          </p:nvSpPr>
          <p:spPr>
            <a:xfrm>
              <a:off x="6197850" y="1706103"/>
              <a:ext cx="2017646" cy="2440704"/>
            </a:xfrm>
            <a:custGeom>
              <a:avLst/>
              <a:gdLst/>
              <a:ahLst/>
              <a:cxnLst/>
              <a:rect l="l" t="t" r="r" b="b"/>
              <a:pathLst>
                <a:path w="56329" h="68140" extrusionOk="0">
                  <a:moveTo>
                    <a:pt x="191" y="1"/>
                  </a:moveTo>
                  <a:lnTo>
                    <a:pt x="9264" y="16550"/>
                  </a:lnTo>
                  <a:lnTo>
                    <a:pt x="1" y="33624"/>
                  </a:lnTo>
                  <a:cubicBezTo>
                    <a:pt x="12716" y="35183"/>
                    <a:pt x="22587" y="45911"/>
                    <a:pt x="22813" y="58984"/>
                  </a:cubicBezTo>
                  <a:lnTo>
                    <a:pt x="39684" y="68140"/>
                  </a:lnTo>
                  <a:lnTo>
                    <a:pt x="56329" y="59008"/>
                  </a:lnTo>
                  <a:cubicBezTo>
                    <a:pt x="56103" y="27456"/>
                    <a:pt x="31350" y="1751"/>
                    <a:pt x="191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38" tIns="137138" rIns="137138" bIns="137138" anchor="ctr" anchorCtr="0">
              <a:noAutofit/>
            </a:bodyPr>
            <a:lstStyle/>
            <a:p>
              <a:pPr>
                <a:spcAft>
                  <a:spcPts val="900"/>
                </a:spcAft>
              </a:pPr>
              <a:endParaRPr sz="27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Google Shape;730;p25">
              <a:extLst>
                <a:ext uri="{FF2B5EF4-FFF2-40B4-BE49-F238E27FC236}">
                  <a16:creationId xmlns:a16="http://schemas.microsoft.com/office/drawing/2014/main" id="{F47F8674-6D2A-2FCB-C0DE-0C2745A128A3}"/>
                </a:ext>
              </a:extLst>
            </p:cNvPr>
            <p:cNvSpPr/>
            <p:nvPr/>
          </p:nvSpPr>
          <p:spPr>
            <a:xfrm>
              <a:off x="3954186" y="1702700"/>
              <a:ext cx="2440740" cy="2017646"/>
            </a:xfrm>
            <a:custGeom>
              <a:avLst/>
              <a:gdLst/>
              <a:ahLst/>
              <a:cxnLst/>
              <a:rect l="l" t="t" r="r" b="b"/>
              <a:pathLst>
                <a:path w="68141" h="56329" extrusionOk="0">
                  <a:moveTo>
                    <a:pt x="59008" y="0"/>
                  </a:moveTo>
                  <a:cubicBezTo>
                    <a:pt x="27457" y="227"/>
                    <a:pt x="1751" y="24980"/>
                    <a:pt x="1" y="56138"/>
                  </a:cubicBezTo>
                  <a:lnTo>
                    <a:pt x="16550" y="47066"/>
                  </a:lnTo>
                  <a:lnTo>
                    <a:pt x="33624" y="56329"/>
                  </a:lnTo>
                  <a:cubicBezTo>
                    <a:pt x="35184" y="43613"/>
                    <a:pt x="45911" y="33754"/>
                    <a:pt x="58984" y="33528"/>
                  </a:cubicBezTo>
                  <a:lnTo>
                    <a:pt x="68140" y="16645"/>
                  </a:lnTo>
                  <a:lnTo>
                    <a:pt x="5900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37138" tIns="137138" rIns="137138" bIns="137138" anchor="ctr" anchorCtr="0">
              <a:noAutofit/>
            </a:bodyPr>
            <a:lstStyle/>
            <a:p>
              <a:pPr>
                <a:spcAft>
                  <a:spcPts val="900"/>
                </a:spcAft>
              </a:pPr>
              <a:endParaRPr sz="27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Google Shape;741;p25">
              <a:extLst>
                <a:ext uri="{FF2B5EF4-FFF2-40B4-BE49-F238E27FC236}">
                  <a16:creationId xmlns:a16="http://schemas.microsoft.com/office/drawing/2014/main" id="{1E96D08D-3438-39DA-37C5-180BDD9AFE76}"/>
                </a:ext>
              </a:extLst>
            </p:cNvPr>
            <p:cNvSpPr/>
            <p:nvPr/>
          </p:nvSpPr>
          <p:spPr>
            <a:xfrm>
              <a:off x="3950784" y="3523270"/>
              <a:ext cx="2017646" cy="2440740"/>
            </a:xfrm>
            <a:custGeom>
              <a:avLst/>
              <a:gdLst/>
              <a:ahLst/>
              <a:cxnLst/>
              <a:rect l="l" t="t" r="r" b="b"/>
              <a:pathLst>
                <a:path w="56329" h="68141" extrusionOk="0">
                  <a:moveTo>
                    <a:pt x="16645" y="1"/>
                  </a:moveTo>
                  <a:lnTo>
                    <a:pt x="1" y="9133"/>
                  </a:lnTo>
                  <a:cubicBezTo>
                    <a:pt x="227" y="40685"/>
                    <a:pt x="24980" y="66390"/>
                    <a:pt x="56139" y="68140"/>
                  </a:cubicBezTo>
                  <a:lnTo>
                    <a:pt x="47066" y="51603"/>
                  </a:lnTo>
                  <a:lnTo>
                    <a:pt x="56329" y="34517"/>
                  </a:lnTo>
                  <a:cubicBezTo>
                    <a:pt x="43613" y="32957"/>
                    <a:pt x="33755" y="22242"/>
                    <a:pt x="33529" y="9157"/>
                  </a:cubicBezTo>
                  <a:lnTo>
                    <a:pt x="1664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38" tIns="137138" rIns="137138" bIns="137138" anchor="ctr" anchorCtr="0">
              <a:noAutofit/>
            </a:bodyPr>
            <a:lstStyle/>
            <a:p>
              <a:pPr>
                <a:spcAft>
                  <a:spcPts val="900"/>
                </a:spcAft>
              </a:pPr>
              <a:endParaRPr sz="27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225482A-BA65-A8AD-5766-5DE7A3833455}"/>
                </a:ext>
              </a:extLst>
            </p:cNvPr>
            <p:cNvSpPr/>
            <p:nvPr/>
          </p:nvSpPr>
          <p:spPr>
            <a:xfrm>
              <a:off x="811346" y="2369108"/>
              <a:ext cx="2433549" cy="130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en-GB" sz="24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</a:t>
              </a:r>
            </a:p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Lorem ipsum is a placeholder text commonly used to demonstrate the visual form of a document</a:t>
              </a:r>
              <a:endParaRPr lang="en-GB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8FE3E60-87CD-42C3-8BB8-845610323B49}"/>
                </a:ext>
              </a:extLst>
            </p:cNvPr>
            <p:cNvSpPr/>
            <p:nvPr/>
          </p:nvSpPr>
          <p:spPr>
            <a:xfrm>
              <a:off x="811346" y="4325511"/>
              <a:ext cx="2433549" cy="130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en-GB" sz="24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</a:t>
              </a:r>
            </a:p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Lorem ipsum is a placeholder text commonly used to demonstrate the visual form of a document</a:t>
              </a:r>
              <a:endParaRPr lang="en-GB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9ABDC7D-47AE-A53A-4160-3D729B945704}"/>
                </a:ext>
              </a:extLst>
            </p:cNvPr>
            <p:cNvSpPr/>
            <p:nvPr/>
          </p:nvSpPr>
          <p:spPr>
            <a:xfrm>
              <a:off x="8926410" y="2369108"/>
              <a:ext cx="2433549" cy="130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GB" sz="24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Lorem ipsum is a placeholder text commonly used to demonstrate the visual form of a document</a:t>
              </a:r>
              <a:endParaRPr lang="en-GB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0DC963-7F7A-7605-6E03-3F8C8A35888E}"/>
                </a:ext>
              </a:extLst>
            </p:cNvPr>
            <p:cNvSpPr/>
            <p:nvPr/>
          </p:nvSpPr>
          <p:spPr>
            <a:xfrm>
              <a:off x="8926410" y="4325511"/>
              <a:ext cx="2433549" cy="130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GB" sz="24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Lorem ipsum is a placeholder text commonly used to demonstrate the visual form of a document</a:t>
              </a:r>
              <a:endParaRPr lang="en-GB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344D4D2-54C0-B9E1-B051-86435D2FD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826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6</TotalTime>
  <Words>78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Process Slide – Business Workflo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42</cp:revision>
  <dcterms:created xsi:type="dcterms:W3CDTF">2006-08-16T00:00:00Z</dcterms:created>
  <dcterms:modified xsi:type="dcterms:W3CDTF">2025-10-06T09:31:41Z</dcterms:modified>
  <cp:category/>
  <dc:identifier>DAGkDf5R9EM</dc:identifier>
</cp:coreProperties>
</file>